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68" r:id="rId2"/>
    <p:sldId id="257" r:id="rId3"/>
    <p:sldId id="269" r:id="rId4"/>
    <p:sldId id="277" r:id="rId5"/>
    <p:sldId id="263" r:id="rId6"/>
    <p:sldId id="264" r:id="rId7"/>
    <p:sldId id="278" r:id="rId8"/>
    <p:sldId id="262" r:id="rId9"/>
    <p:sldId id="266" r:id="rId10"/>
    <p:sldId id="272" r:id="rId11"/>
    <p:sldId id="279" r:id="rId12"/>
    <p:sldId id="276" r:id="rId13"/>
    <p:sldId id="280" r:id="rId14"/>
    <p:sldId id="260" r:id="rId15"/>
    <p:sldId id="273" r:id="rId16"/>
  </p:sldIdLst>
  <p:sldSz cx="12192000" cy="6858000"/>
  <p:notesSz cx="6884988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7BF70D-7C8B-3068-FEE8-4C996CE3671D}" name="Andrea Tang" initials="AT" userId="S::Andrea.Tang@fiata.org::92c5f88e-f86b-41a4-91cf-b000a1e8e13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63EA37-E3B8-4F1F-A38D-4A7B8BE7429D}" v="8" dt="2022-09-09T10:36:00.2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009" autoAdjust="0"/>
  </p:normalViewPr>
  <p:slideViewPr>
    <p:cSldViewPr snapToGrid="0">
      <p:cViewPr varScale="1">
        <p:scale>
          <a:sx n="92" d="100"/>
          <a:sy n="92" d="100"/>
        </p:scale>
        <p:origin x="90" y="228"/>
      </p:cViewPr>
      <p:guideLst/>
    </p:cSldViewPr>
  </p:slideViewPr>
  <p:outlineViewPr>
    <p:cViewPr>
      <p:scale>
        <a:sx n="33" d="100"/>
        <a:sy n="33" d="100"/>
      </p:scale>
      <p:origin x="0" y="-8408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anda Stock" userId="cabde9e9-bbe9-48d1-a7d0-fde2fac42fa4" providerId="ADAL" clId="{57849F11-B01A-41C9-9410-C61F911B43DF}"/>
    <pc:docChg chg="modSld">
      <pc:chgData name="Amanda Stock" userId="cabde9e9-bbe9-48d1-a7d0-fde2fac42fa4" providerId="ADAL" clId="{57849F11-B01A-41C9-9410-C61F911B43DF}" dt="2022-09-09T23:20:02.111" v="10" actId="14100"/>
      <pc:docMkLst>
        <pc:docMk/>
      </pc:docMkLst>
      <pc:sldChg chg="modSp mod">
        <pc:chgData name="Amanda Stock" userId="cabde9e9-bbe9-48d1-a7d0-fde2fac42fa4" providerId="ADAL" clId="{57849F11-B01A-41C9-9410-C61F911B43DF}" dt="2022-09-09T23:20:02.111" v="10" actId="14100"/>
        <pc:sldMkLst>
          <pc:docMk/>
          <pc:sldMk cId="3381120729" sldId="279"/>
        </pc:sldMkLst>
        <pc:spChg chg="mod">
          <ac:chgData name="Amanda Stock" userId="cabde9e9-bbe9-48d1-a7d0-fde2fac42fa4" providerId="ADAL" clId="{57849F11-B01A-41C9-9410-C61F911B43DF}" dt="2022-09-09T23:20:02.111" v="10" actId="14100"/>
          <ac:spMkLst>
            <pc:docMk/>
            <pc:sldMk cId="3381120729" sldId="279"/>
            <ac:spMk id="5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3495" cy="50267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900" y="0"/>
            <a:ext cx="2983495" cy="502676"/>
          </a:xfrm>
          <a:prstGeom prst="rect">
            <a:avLst/>
          </a:prstGeom>
        </p:spPr>
        <p:txBody>
          <a:bodyPr vert="horz" lIns="96606" tIns="48303" rIns="96606" bIns="48303" rtlCol="0"/>
          <a:lstStyle>
            <a:lvl1pPr algn="r">
              <a:defRPr sz="1300"/>
            </a:lvl1pPr>
          </a:lstStyle>
          <a:p>
            <a:fld id="{9AF1BC89-627B-4ACB-B5D3-01AD6FA84B9D}" type="datetimeFigureOut">
              <a:rPr lang="en-GB" smtClean="0"/>
              <a:t>21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08688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06" tIns="48303" rIns="96606" bIns="48303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499" y="4821506"/>
            <a:ext cx="5507990" cy="3944868"/>
          </a:xfrm>
          <a:prstGeom prst="rect">
            <a:avLst/>
          </a:prstGeom>
        </p:spPr>
        <p:txBody>
          <a:bodyPr vert="horz" lIns="96606" tIns="48303" rIns="96606" bIns="4830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6039"/>
            <a:ext cx="2983495" cy="50267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900" y="9516039"/>
            <a:ext cx="2983495" cy="502674"/>
          </a:xfrm>
          <a:prstGeom prst="rect">
            <a:avLst/>
          </a:prstGeom>
        </p:spPr>
        <p:txBody>
          <a:bodyPr vert="horz" lIns="96606" tIns="48303" rIns="96606" bIns="48303" rtlCol="0" anchor="b"/>
          <a:lstStyle>
            <a:lvl1pPr algn="r">
              <a:defRPr sz="1300"/>
            </a:lvl1pPr>
          </a:lstStyle>
          <a:p>
            <a:fld id="{0C9D288F-6D59-497A-92DC-7123A8B266E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75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722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6869" y="5451459"/>
            <a:ext cx="5333902" cy="253020"/>
          </a:xfrm>
        </p:spPr>
        <p:txBody>
          <a:bodyPr>
            <a:normAutofit lnSpcReduction="10000"/>
          </a:bodyPr>
          <a:lstStyle/>
          <a:p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4931">
              <a:defRPr/>
            </a:pPr>
            <a:fld id="{3C3A632B-FBDE-46D4-BF6F-6D14421E6342}" type="slidenum">
              <a:rPr lang="en-GB" sz="1100">
                <a:solidFill>
                  <a:srgbClr val="000000"/>
                </a:solidFill>
                <a:latin typeface="Arial" charset="0"/>
                <a:ea typeface="+mn-ea"/>
              </a:rPr>
              <a:pPr defTabSz="864931">
                <a:defRPr/>
              </a:pPr>
              <a:t>15</a:t>
            </a:fld>
            <a:endParaRPr lang="en-GB" sz="1100" dirty="0">
              <a:solidFill>
                <a:srgbClr val="000000"/>
              </a:solidFill>
              <a:latin typeface="Arial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6910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5656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8430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703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176213" y="839788"/>
            <a:ext cx="7478713" cy="4206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 dirty="0">
              <a:ea typeface="ヒラギノ角ゴ Pro W3" pitchFamily="1" charset="-128"/>
            </a:endParaRPr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1pPr>
            <a:lvl2pPr marL="813287" indent="-312803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2pPr>
            <a:lvl3pPr marL="1251213" indent="-250243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3pPr>
            <a:lvl4pPr marL="1751697" indent="-250243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4pPr>
            <a:lvl5pPr marL="2252183" indent="-250243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5pPr>
            <a:lvl6pPr marL="2752668" indent="-250243" defTabSz="50048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6pPr>
            <a:lvl7pPr marL="3253154" indent="-250243" defTabSz="50048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7pPr>
            <a:lvl8pPr marL="3753639" indent="-250243" defTabSz="50048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8pPr>
            <a:lvl9pPr marL="4254124" indent="-250243" defTabSz="50048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pitchFamily="1" charset="-128"/>
              </a:defRPr>
            </a:lvl9pPr>
          </a:lstStyle>
          <a:p>
            <a:pPr eaLnBrk="1" hangingPunct="1"/>
            <a:fld id="{B82DDB05-847E-4114-85ED-29E7C8917BB3}" type="slidenum">
              <a:rPr lang="en-GB" altLang="en-US" smtClean="0">
                <a:latin typeface="Calibri" pitchFamily="34" charset="0"/>
              </a:rPr>
              <a:pPr eaLnBrk="1" hangingPunct="1"/>
              <a:t>5</a:t>
            </a:fld>
            <a:endParaRPr lang="en-GB" alt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69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176213" y="839788"/>
            <a:ext cx="7478713" cy="4206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GB" altLang="en-US" sz="1900" dirty="0">
              <a:ea typeface="ヒラギノ角ゴ Pro W3" pitchFamily="1" charset="-128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1pPr>
            <a:lvl2pPr marL="784146" indent="-301056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2pPr>
            <a:lvl3pPr marL="1205974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3pPr>
            <a:lvl4pPr marL="1689064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4pPr>
            <a:lvl5pPr marL="2172153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5pPr>
            <a:lvl6pPr marL="2676247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6pPr>
            <a:lvl7pPr marL="3180339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7pPr>
            <a:lvl8pPr marL="3684431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8pPr>
            <a:lvl9pPr marL="4188526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235986B9-EAF5-4A69-B9CE-469BDA7F5755}" type="slidenum">
              <a:rPr lang="en-GB" altLang="en-US" smtClean="0"/>
              <a:pPr eaLnBrk="1" hangingPunct="1">
                <a:spcBef>
                  <a:spcPct val="0"/>
                </a:spcBef>
              </a:pPr>
              <a:t>6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247350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176213" y="839788"/>
            <a:ext cx="7478713" cy="4206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GB" altLang="en-US" sz="1900" dirty="0">
              <a:ea typeface="ヒラギノ角ゴ Pro W3" pitchFamily="1" charset="-128"/>
            </a:endParaRPr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1pPr>
            <a:lvl2pPr marL="784146" indent="-301056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2pPr>
            <a:lvl3pPr marL="1205974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3pPr>
            <a:lvl4pPr marL="1689064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4pPr>
            <a:lvl5pPr marL="2172153" indent="-239795" defTabSz="52159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5pPr>
            <a:lvl6pPr marL="2676247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6pPr>
            <a:lvl7pPr marL="3180339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7pPr>
            <a:lvl8pPr marL="3684431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8pPr>
            <a:lvl9pPr marL="4188526" indent="-239795" defTabSz="5215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235986B9-EAF5-4A69-B9CE-469BDA7F5755}" type="slidenum">
              <a:rPr lang="en-GB" altLang="en-US" smtClean="0"/>
              <a:pPr eaLnBrk="1" hangingPunct="1">
                <a:spcBef>
                  <a:spcPct val="0"/>
                </a:spcBef>
              </a:pPr>
              <a:t>7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4545343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2473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D288F-6D59-497A-92DC-7123A8B266E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897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826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7847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772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: Tex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9951" y="366715"/>
            <a:ext cx="8753684" cy="74928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82602" y="1511300"/>
            <a:ext cx="5481401" cy="46224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193632" y="1562100"/>
            <a:ext cx="5520000" cy="4571600"/>
          </a:xfrm>
        </p:spPr>
        <p:txBody>
          <a:bodyPr rtlCol="0">
            <a:norm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Drag picture to placeholder or click icon to add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9189D6-7A2F-4A16-8B96-69C6D1F6D878}" type="slidenum">
              <a:rPr lang="en-GB" altLang="en-US"/>
              <a:pPr>
                <a:defRPr/>
              </a:pPr>
              <a:t>‹N°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57301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94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9491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039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743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462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5143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1823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630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14372-682A-4542-90D2-3042A63232FE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44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ww.ttclub.com/loss-prevention/cargo-integrity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2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94680" y="2316163"/>
            <a:ext cx="11589724" cy="39036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 PACKING OF CTUs: KEY TO SAFE SHIPPING</a:t>
            </a:r>
          </a:p>
          <a:p>
            <a:pPr algn="l"/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ING CARGO INTEGRITY GROUP </a:t>
            </a:r>
            <a:b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ITS ASPIRATIONS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egrine Storrs-Fox</a:t>
            </a:r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isk Management Director, </a:t>
            </a:r>
          </a:p>
          <a:p>
            <a:pPr algn="l"/>
            <a:endParaRPr lang="en-GB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GB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inar  |  20 Apr 2021</a:t>
            </a:r>
          </a:p>
          <a:p>
            <a:pPr algn="l"/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A picture containing indoor&#10;&#10;Description automatically generated">
            <a:extLst>
              <a:ext uri="{FF2B5EF4-FFF2-40B4-BE49-F238E27FC236}">
                <a16:creationId xmlns:a16="http://schemas.microsoft.com/office/drawing/2014/main" id="{7206D908-DC5C-6EC9-667D-FF38513AE6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243098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3C12E8E-45B1-162A-B3A2-9DE38D0DFA20}"/>
              </a:ext>
            </a:extLst>
          </p:cNvPr>
          <p:cNvSpPr txBox="1"/>
          <p:nvPr/>
        </p:nvSpPr>
        <p:spPr>
          <a:xfrm>
            <a:off x="6083084" y="878153"/>
            <a:ext cx="5578085" cy="39395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effectLst/>
                <a:ea typeface="Calibri" panose="020F0502020204030204" pitchFamily="34" charset="0"/>
              </a:rPr>
              <a:t>Promoting and strengthening cargo packing standards in global supply chains</a:t>
            </a:r>
          </a:p>
          <a:p>
            <a:endParaRPr lang="en-GB" sz="2800" b="1" dirty="0">
              <a:effectLst/>
              <a:ea typeface="Calibri" panose="020F0502020204030204" pitchFamily="34" charset="0"/>
            </a:endParaRPr>
          </a:p>
          <a:p>
            <a:r>
              <a:rPr lang="en-US" sz="2400" dirty="0"/>
              <a:t>Guidance produced by the Cargo Integrity Group, including The Quick Guide to the CTU Code and the Container Packing Checklist</a:t>
            </a:r>
            <a:endParaRPr lang="en-GB" sz="2400" dirty="0"/>
          </a:p>
          <a:p>
            <a:endParaRPr lang="en-GB" sz="2400" b="1" dirty="0"/>
          </a:p>
          <a:p>
            <a:r>
              <a:rPr lang="en-GB" b="1" dirty="0">
                <a:effectLst/>
                <a:ea typeface="Calibri" panose="020F0502020204030204" pitchFamily="34" charset="0"/>
              </a:rPr>
              <a:t>Stephane Graber, Director General, FIATA</a:t>
            </a:r>
            <a:endParaRPr lang="en-CH" b="1" dirty="0"/>
          </a:p>
        </p:txBody>
      </p:sp>
      <p:pic>
        <p:nvPicPr>
          <p:cNvPr id="10" name="Picture 9" descr="Text&#10;&#10;Description automatically generated with medium confidence">
            <a:extLst>
              <a:ext uri="{FF2B5EF4-FFF2-40B4-BE49-F238E27FC236}">
                <a16:creationId xmlns:a16="http://schemas.microsoft.com/office/drawing/2014/main" id="{8CF5E7ED-78A4-4C5E-272D-2AD7FE254A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107585"/>
            <a:ext cx="2161032" cy="13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395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42A6D1-7438-41CA-849B-0A1BC603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10</a:t>
            </a:fld>
            <a:endParaRPr lang="en-GB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ACCESSIBILITY TO QUICK GUIDE &amp; CHECKLIST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4680" y="1364708"/>
            <a:ext cx="6675963" cy="4992135"/>
          </a:xfrm>
        </p:spPr>
        <p:txBody>
          <a:bodyPr>
            <a:norm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reely available on partner websites, such as</a:t>
            </a:r>
            <a:b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ttclub.com/loss-prevention/cargo-integrity/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spiration to translate to all ‘official’ UN languag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hinese (Nov 2020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panish (Mar 2021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rabic (May 2021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ussian (Jun 2021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rench (TBA)</a:t>
            </a:r>
          </a:p>
          <a:p>
            <a:pPr lvl="1">
              <a:buFont typeface="Wingdings" panose="05000000000000000000" pitchFamily="2" charset="2"/>
              <a:buChar char="ü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lease disseminate widely!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6596">
            <a:off x="9637622" y="2066227"/>
            <a:ext cx="2613744" cy="3654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94922">
            <a:off x="8443241" y="1830383"/>
            <a:ext cx="2559905" cy="36856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41247">
            <a:off x="7123001" y="1701873"/>
            <a:ext cx="2599061" cy="3675885"/>
          </a:xfrm>
          <a:prstGeom prst="rect">
            <a:avLst/>
          </a:prstGeom>
        </p:spPr>
      </p:pic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58CDD967-7E54-39C6-EC8E-05C41F3933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231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42A6D1-7438-41CA-849B-0A1BC603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11</a:t>
            </a:fld>
            <a:endParaRPr lang="en-GB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94679" y="365126"/>
            <a:ext cx="11697153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THE CTU CODE: CRUCIAL FOR MITIGATING VISIBLE PEST CONTAMINATION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294680" y="63116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GB" sz="140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4680" y="1522040"/>
            <a:ext cx="6220809" cy="5335960"/>
          </a:xfrm>
        </p:spPr>
        <p:txBody>
          <a:bodyPr>
            <a:normAutofit lnSpcReduction="10000"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igh volume of international traded goods moving around the world brings with it associated risk of plant health, agriculture and biodiversity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ntamination is often difficult to detect and goes unnoticed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rrect storage, handling and packing of containers is crucial to preventing the spread of pests and ensuring safe transport. This includes: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hecking the container is free of signs of infestation, damage or contamination – at origin and destination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nsuring a safe working environment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roperly securing and positioning the container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andling the container with care throughout the transport chain</a:t>
            </a:r>
          </a:p>
          <a:p>
            <a:pPr lvl="1"/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Correct reporting on the condition of the container and proper cleaning after unpacking</a:t>
            </a: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58CDD967-7E54-39C6-EC8E-05C41F3933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  <p:pic>
        <p:nvPicPr>
          <p:cNvPr id="9" name="Picture 8" descr="Colorful cargo containers stacked with a worker standing">
            <a:extLst>
              <a:ext uri="{FF2B5EF4-FFF2-40B4-BE49-F238E27FC236}">
                <a16:creationId xmlns:a16="http://schemas.microsoft.com/office/drawing/2014/main" id="{602FFD3B-CD2E-2106-3F65-CFCC920B94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489" y="1730222"/>
            <a:ext cx="5381831" cy="360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1207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42A6D1-7438-41CA-849B-0A1BC603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12</a:t>
            </a:fld>
            <a:endParaRPr lang="en-GB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INVASIVE PESTS: MITIGATION = A MULTI-STAKEHOLDER EFFORT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80" y="968651"/>
            <a:ext cx="3409950" cy="50673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94680" y="6128398"/>
            <a:ext cx="86643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http://www.fao.org/documents/card/en/c/ca7963en/</a:t>
            </a:r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5D4F3818-3906-2B70-5303-D1927F2BB6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B9F9DA6-F76E-96EA-2CA5-A8F96EE1B21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6229" y="980321"/>
            <a:ext cx="8406981" cy="4901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4051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80" y="365126"/>
            <a:ext cx="11059120" cy="819702"/>
          </a:xfrm>
        </p:spPr>
        <p:txBody>
          <a:bodyPr>
            <a:norm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WHAT MORE NEEDS TO BE DONE?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80" y="1887449"/>
            <a:ext cx="11566205" cy="4605425"/>
          </a:xfrm>
        </p:spPr>
        <p:txBody>
          <a:bodyPr numCol="2" spcCol="360000">
            <a:normAutofit/>
          </a:bodyPr>
          <a:lstStyle/>
          <a:p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Developing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facilitating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understanding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nd training on the CTU Code and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related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resource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re crucial</a:t>
            </a:r>
          </a:p>
          <a:p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This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ensure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ll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actor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in the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supply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chain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including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small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nd medium-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sized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enterprise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, can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better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understand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their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role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responsibilities</a:t>
            </a:r>
            <a:endParaRPr lang="fr-CH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The multi-lingual publication of the CTU Code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provide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an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opportunity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greater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dissemination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acros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the world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endParaRPr lang="fr-CH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The Cargo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Integrity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Group,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it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diverse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membership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working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ensure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the information can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brought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far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across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supply</a:t>
            </a:r>
            <a:r>
              <a:rPr lang="fr-CH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2000" dirty="0" err="1">
                <a:latin typeface="Arial" panose="020B0604020202020204" pitchFamily="34" charset="0"/>
                <a:cs typeface="Arial" panose="020B0604020202020204" pitchFamily="34" charset="0"/>
              </a:rPr>
              <a:t>chain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0B5CE-02C2-4ECC-B10F-F4E4A5140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13</a:t>
            </a:fld>
            <a:endParaRPr lang="en-GB"/>
          </a:p>
        </p:txBody>
      </p:sp>
      <p:pic>
        <p:nvPicPr>
          <p:cNvPr id="9" name="Picture 8" descr="Yellow freight container with the sky as backgroun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3845" y="1887450"/>
            <a:ext cx="5547040" cy="3720870"/>
          </a:xfrm>
          <a:prstGeom prst="rect">
            <a:avLst/>
          </a:prstGeom>
        </p:spPr>
      </p:pic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2F683C2F-CDAD-BF2F-C8BC-E64AA7C51C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786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26922" y="1503680"/>
            <a:ext cx="11367238" cy="3840480"/>
          </a:xfrm>
        </p:spPr>
        <p:txBody>
          <a:bodyPr numCol="2">
            <a:normAutofit/>
          </a:bodyPr>
          <a:lstStyle/>
          <a:p>
            <a:pPr marL="0" lvl="2" indent="0">
              <a:lnSpc>
                <a:spcPct val="100000"/>
              </a:lnSpc>
              <a:spcBef>
                <a:spcPts val="1200"/>
              </a:spcBef>
              <a:buClr>
                <a:srgbClr val="E32118"/>
              </a:buClr>
              <a:buNone/>
            </a:pP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Working towards industry wide change</a:t>
            </a:r>
            <a:endParaRPr lang="en-GB" altLang="en-US" b="1" dirty="0">
              <a:solidFill>
                <a:srgbClr val="FF0000"/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   </a:t>
            </a:r>
            <a:r>
              <a:rPr lang="en-GB" altLang="en-US" sz="2000" b="1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Call to action</a:t>
            </a: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Recognition of the scale of the challenge</a:t>
            </a: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Galvanising “fragmented” stakeholders</a:t>
            </a: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Reconciling diverse interests</a:t>
            </a: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Legal &amp; operational innovation</a:t>
            </a:r>
            <a:br>
              <a:rPr lang="en-GB" altLang="en-US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</a:br>
            <a:endParaRPr lang="en-GB" altLang="en-US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lvl="2" eaLnBrk="1" hangingPunct="1"/>
            <a:endParaRPr lang="en-GB" altLang="en-US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lvl="2" eaLnBrk="1" hangingPunct="1"/>
            <a:endParaRPr lang="en-GB" altLang="en-US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marL="914400" lvl="2" indent="0" eaLnBrk="1" hangingPunct="1">
              <a:buNone/>
            </a:pPr>
            <a:endParaRPr lang="en-GB" altLang="en-US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altLang="en-US" sz="2000" b="1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altLang="en-US" sz="2000" b="1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   Cargo Integrity [#Fit4Freight] initiative</a:t>
            </a:r>
            <a:endParaRPr lang="zh-CN" altLang="en-US" sz="2000" b="1" dirty="0">
              <a:latin typeface="Arial" panose="020B0604020202020204" pitchFamily="34" charset="0"/>
              <a:ea typeface="楷体_GB2312" panose="02010609030101010101" charset="-122"/>
              <a:cs typeface="Arial" panose="020B0604020202020204" pitchFamily="34" charset="0"/>
            </a:endParaRPr>
          </a:p>
          <a:p>
            <a:pPr lvl="1">
              <a:lnSpc>
                <a:spcPct val="100000"/>
              </a:lnSpc>
            </a:pPr>
            <a:r>
              <a:rPr lang="en-US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Promoting awareness &amp; adoption of the CTU Code</a:t>
            </a:r>
            <a:endParaRPr lang="en-GB" altLang="en-US" sz="2000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Seeking </a:t>
            </a:r>
            <a:r>
              <a:rPr lang="en-US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changes in regulatory requirements</a:t>
            </a:r>
            <a:endParaRPr lang="en-GB" altLang="en-US" sz="2000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  <a:p>
            <a:pPr lvl="1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Monitoring of CTU packing performance</a:t>
            </a:r>
          </a:p>
          <a:p>
            <a:pPr lvl="1">
              <a:lnSpc>
                <a:spcPct val="100000"/>
              </a:lnSpc>
            </a:pPr>
            <a:r>
              <a:rPr lang="en-US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Working with other industry &amp; </a:t>
            </a:r>
            <a:br>
              <a:rPr lang="en-US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</a:br>
            <a:r>
              <a:rPr lang="en-US" altLang="en-US" sz="2000" dirty="0"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governmental stakeholders </a:t>
            </a:r>
            <a:endParaRPr lang="en-GB" altLang="en-US" sz="2000" dirty="0"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42A6D1-7438-41CA-849B-0A1BC6030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14</a:t>
            </a:fld>
            <a:endParaRPr lang="en-GB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OLLABORATING FOR CULTURAL “STEP-CHANGE”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DAC0F51E-8DBC-3BAF-45EE-21184948D8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770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788DA70-E959-4222-AB03-88F72D5E2D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1749"/>
            <a:ext cx="12192000" cy="6869749"/>
          </a:xfrm>
          <a:prstGeom prst="rect">
            <a:avLst/>
          </a:prstGeom>
        </p:spPr>
      </p:pic>
      <p:sp>
        <p:nvSpPr>
          <p:cNvPr id="9" name="Subtitle 8">
            <a:extLst>
              <a:ext uri="{FF2B5EF4-FFF2-40B4-BE49-F238E27FC236}">
                <a16:creationId xmlns:a16="http://schemas.microsoft.com/office/drawing/2014/main" id="{1E2A6D09-DE6F-4BAA-86EE-4FD935FAA4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88819" y="2785661"/>
            <a:ext cx="4740760" cy="1364669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GB" sz="2667" cap="none" dirty="0"/>
          </a:p>
          <a:p>
            <a:endParaRPr lang="en-GB" sz="2667" cap="none" dirty="0"/>
          </a:p>
          <a:p>
            <a:endParaRPr lang="en-GB" sz="2667" cap="none" dirty="0"/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7186660" y="1123819"/>
            <a:ext cx="4454195" cy="1423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eaLnBrk="1" hangingPunct="1">
              <a:lnSpc>
                <a:spcPts val="3733"/>
              </a:lnSpc>
            </a:pPr>
            <a:r>
              <a:rPr lang="en-GB" altLang="en-US" sz="5333" b="1" dirty="0">
                <a:solidFill>
                  <a:schemeClr val="bg1"/>
                </a:solidFill>
              </a:rPr>
              <a:t>Thank you</a:t>
            </a:r>
            <a:br>
              <a:rPr lang="en-GB" altLang="en-US" sz="5333" b="1" dirty="0">
                <a:solidFill>
                  <a:schemeClr val="bg1"/>
                </a:solidFill>
              </a:rPr>
            </a:br>
            <a:endParaRPr lang="en-GB" altLang="en-US" sz="5333" b="1" dirty="0">
              <a:solidFill>
                <a:schemeClr val="bg1"/>
              </a:solidFill>
            </a:endParaRPr>
          </a:p>
          <a:p>
            <a:pPr eaLnBrk="1" hangingPunct="1">
              <a:lnSpc>
                <a:spcPts val="3733"/>
              </a:lnSpc>
            </a:pPr>
            <a:r>
              <a:rPr lang="en-GB" altLang="en-US" sz="4267" b="1" dirty="0">
                <a:solidFill>
                  <a:schemeClr val="bg1"/>
                </a:solidFill>
              </a:rPr>
              <a:t>Any questions?</a:t>
            </a:r>
          </a:p>
        </p:txBody>
      </p:sp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41B2B99C-4D22-5CD9-8D2F-B31076B517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659" y="4269981"/>
            <a:ext cx="1534807" cy="154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07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80" y="365126"/>
            <a:ext cx="11059120" cy="819702"/>
          </a:xfrm>
        </p:spPr>
        <p:txBody>
          <a:bodyPr>
            <a:norm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HISTORY OF CARGO INTEGRITY INITIATIVE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80" y="1887449"/>
            <a:ext cx="11566205" cy="4605425"/>
          </a:xfrm>
        </p:spPr>
        <p:txBody>
          <a:bodyPr numCol="2" spcCol="360000">
            <a:normAutofit/>
          </a:bodyPr>
          <a:lstStyle/>
          <a:p>
            <a:r>
              <a:rPr lang="en-GB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Cross-industry collaboration succes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imed at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improving the packing of good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cargo transport units and multi-modal containers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tarted in the context of: </a:t>
            </a:r>
          </a:p>
          <a:p>
            <a:pPr lvl="1"/>
            <a:r>
              <a:rPr lang="en-GB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VGM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(amendment to SOLAS Chapter VI, Part A, Regulation 2)</a:t>
            </a:r>
          </a:p>
          <a:p>
            <a:pPr lvl="1"/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Recognition that gross mass, while important, is but one part of </a:t>
            </a:r>
            <a:r>
              <a:rPr lang="en-GB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the broader </a:t>
            </a:r>
            <a:r>
              <a:rPr 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cargo transport unit (CTU) packing proces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Growing governmental concern over transfer of </a:t>
            </a:r>
            <a:r>
              <a:rPr 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invasive plant and animal species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n intermodal supply chai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0B5CE-02C2-4ECC-B10F-F4E4A5140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2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88"/>
          <a:stretch/>
        </p:blipFill>
        <p:spPr>
          <a:xfrm>
            <a:off x="6313845" y="1887450"/>
            <a:ext cx="5547040" cy="3720870"/>
          </a:xfrm>
          <a:prstGeom prst="rect">
            <a:avLst/>
          </a:prstGeom>
        </p:spPr>
      </p:pic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2F683C2F-CDAD-BF2F-C8BC-E64AA7C51C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80" y="365126"/>
            <a:ext cx="11059120" cy="819702"/>
          </a:xfrm>
        </p:spPr>
        <p:txBody>
          <a:bodyPr>
            <a:norm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RATIONALE FOR CARGO INTEGRITY INITIATIVE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49" y="2608036"/>
            <a:ext cx="5276255" cy="2673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is includes such things as: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load distribution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cargo securing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classification 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documentation 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declaration </a:t>
            </a:r>
          </a:p>
          <a:p>
            <a:pPr lvl="1">
              <a:lnSpc>
                <a:spcPct val="110000"/>
              </a:lnSpc>
              <a:buFont typeface="Courier New" panose="02070309020205020404" pitchFamily="49" charset="0"/>
              <a:buChar char="o"/>
            </a:pPr>
            <a:r>
              <a:rPr lang="en-US" sz="2200" i="1" dirty="0">
                <a:latin typeface="Arial" panose="020B0604020202020204" pitchFamily="34" charset="0"/>
                <a:cs typeface="Arial" panose="020B0604020202020204" pitchFamily="34" charset="0"/>
              </a:rPr>
              <a:t>ineffective data transf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0B5CE-02C2-4ECC-B10F-F4E4A5140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3</a:t>
            </a:fld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294680" y="1442251"/>
            <a:ext cx="2133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%</a:t>
            </a:r>
          </a:p>
        </p:txBody>
      </p:sp>
      <p:sp>
        <p:nvSpPr>
          <p:cNvPr id="7" name="Rectangle 6"/>
          <p:cNvSpPr/>
          <p:nvPr/>
        </p:nvSpPr>
        <p:spPr>
          <a:xfrm>
            <a:off x="2343150" y="1567680"/>
            <a:ext cx="48320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T Club analyses show that 66% of incidents related to cargo damage are caused or exacerbated by poor packing practices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361949" y="5043938"/>
            <a:ext cx="19812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6bn</a:t>
            </a:r>
          </a:p>
        </p:txBody>
      </p:sp>
      <p:sp>
        <p:nvSpPr>
          <p:cNvPr id="9" name="Rectangle 8"/>
          <p:cNvSpPr/>
          <p:nvPr/>
        </p:nvSpPr>
        <p:spPr>
          <a:xfrm>
            <a:off x="2428280" y="5281374"/>
            <a:ext cx="4825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st to the transport and logistics industry estimated in excess of USD6 billion annually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41269" y="1653371"/>
            <a:ext cx="4419616" cy="3508083"/>
          </a:xfrm>
          <a:prstGeom prst="rect">
            <a:avLst/>
          </a:prstGeom>
        </p:spPr>
      </p:pic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B339F160-EEFE-B15B-DB86-D5411C08C5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012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680" y="365126"/>
            <a:ext cx="11059120" cy="819702"/>
          </a:xfrm>
        </p:spPr>
        <p:txBody>
          <a:bodyPr>
            <a:norm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ARGO INTEGRITY GROUP TODAY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80" y="1887449"/>
            <a:ext cx="11566205" cy="4605425"/>
          </a:xfrm>
        </p:spPr>
        <p:txBody>
          <a:bodyPr numCol="2" spcCol="360000"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ission: Collaborating to improve standards for the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safe and secure packing of cargoe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cargo transport units and the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avoidance of contamination by invasive pest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prised of </a:t>
            </a: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industry representatives across the supply chain: </a:t>
            </a:r>
          </a:p>
          <a:p>
            <a:pPr lvl="1"/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Bureau International des Containers (BIC)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tainer Owners Association (COA)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lobal Shippers Forum (GSF)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ternational Cargo Handling Co-ordination Association (ICHCA International)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orld Shipping Council (WSC)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ternational Federation of Freight Forwarders Associations (FIATA)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T Club</a:t>
            </a:r>
          </a:p>
          <a:p>
            <a:pPr lvl="1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orld Shipping Council (WSC)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90B5CE-02C2-4ECC-B10F-F4E4A5140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4</a:t>
            </a:fld>
            <a:endParaRPr lang="en-GB"/>
          </a:p>
        </p:txBody>
      </p:sp>
      <p:pic>
        <p:nvPicPr>
          <p:cNvPr id="9" name="Picture 8" descr="Cargo shipping containers in a pile and on a semi-truck at a harbo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3845" y="1887450"/>
            <a:ext cx="5547040" cy="3720870"/>
          </a:xfrm>
          <a:prstGeom prst="rect">
            <a:avLst/>
          </a:prstGeom>
        </p:spPr>
      </p:pic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2F683C2F-CDAD-BF2F-C8BC-E64AA7C51C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331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Content Placeholder 2"/>
          <p:cNvSpPr>
            <a:spLocks noGrp="1"/>
          </p:cNvSpPr>
          <p:nvPr>
            <p:ph idx="1"/>
          </p:nvPr>
        </p:nvSpPr>
        <p:spPr>
          <a:xfrm>
            <a:off x="294680" y="1511300"/>
            <a:ext cx="5702899" cy="4622800"/>
          </a:xfrm>
        </p:spPr>
        <p:txBody>
          <a:bodyPr>
            <a:normAutofit/>
          </a:bodyPr>
          <a:lstStyle/>
          <a:p>
            <a:pPr marL="0" lvl="2" indent="0">
              <a:spcBef>
                <a:spcPts val="1200"/>
              </a:spcBef>
              <a:buClr>
                <a:srgbClr val="E32118"/>
              </a:buClr>
              <a:buNone/>
            </a:pPr>
            <a:r>
              <a:rPr lang="en-GB" altLang="en-US" b="1" dirty="0">
                <a:solidFill>
                  <a:srgbClr val="FF0000"/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Historic development of guidance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argo superintendents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Mariners &amp; shipping lines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Insurance companies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Intergovernmental initiatives</a:t>
            </a:r>
          </a:p>
          <a:p>
            <a:pPr marL="712788" lvl="3"/>
            <a:endParaRPr lang="en-GB" altLang="en-US" sz="2000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marL="0" lvl="2" indent="0">
              <a:spcBef>
                <a:spcPts val="1200"/>
              </a:spcBef>
              <a:buClr>
                <a:srgbClr val="E32118"/>
              </a:buClr>
              <a:buNone/>
            </a:pPr>
            <a:r>
              <a:rPr lang="en-GB" altLang="en-US" b="1" dirty="0">
                <a:solidFill>
                  <a:srgbClr val="FF0000"/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hallenges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Body of expertise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Accessibility of guidance</a:t>
            </a:r>
          </a:p>
          <a:p>
            <a:pPr marL="0" lvl="1" indent="-239712"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Trade developments</a:t>
            </a:r>
          </a:p>
          <a:p>
            <a:pPr marL="252412" lvl="2" indent="0">
              <a:buNone/>
            </a:pPr>
            <a:endParaRPr lang="en-GB" altLang="en-US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pic>
        <p:nvPicPr>
          <p:cNvPr id="7" name="Picture 10" descr="IMO Packing CT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38772">
            <a:off x="8861030" y="532775"/>
            <a:ext cx="2897462" cy="412004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1170450">
            <a:off x="7362731" y="1347426"/>
            <a:ext cx="2897462" cy="41200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5D426F-C393-430B-B974-CCE4690588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829189D6-7A2F-4A16-8B96-69C6D1F6D878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SOURCES OF KNOWLEDGE ABOUT PACKING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2867EF63-7936-B6A6-976C-80D261DB51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69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10075866" y="6494464"/>
            <a:ext cx="59213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lnSpc>
                <a:spcPct val="92000"/>
              </a:lnSpc>
              <a:spcBef>
                <a:spcPts val="1200"/>
              </a:spcBef>
              <a:defRPr sz="2100" b="1">
                <a:solidFill>
                  <a:schemeClr val="bg2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lnSpc>
                <a:spcPct val="92000"/>
              </a:lnSpc>
              <a:spcBef>
                <a:spcPts val="900"/>
              </a:spcBef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lnSpc>
                <a:spcPct val="92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ct val="92000"/>
              </a:lnSpc>
              <a:spcBef>
                <a:spcPts val="900"/>
              </a:spcBef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ct val="92000"/>
              </a:lnSpc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fld id="{52478951-C796-4E2F-BD04-50807ADD696D}" type="slidenum">
              <a:rPr lang="en-GB" altLang="en-US" sz="1200">
                <a:solidFill>
                  <a:schemeClr val="bg1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t>6</a:t>
            </a:fld>
            <a:endParaRPr lang="en-GB" altLang="en-US" sz="1200" dirty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58809">
            <a:off x="8460747" y="517524"/>
            <a:ext cx="2876678" cy="407569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64412">
            <a:off x="7209207" y="1521935"/>
            <a:ext cx="2847670" cy="405635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tent Placeholder 2"/>
          <p:cNvSpPr txBox="1">
            <a:spLocks/>
          </p:cNvSpPr>
          <p:nvPr/>
        </p:nvSpPr>
        <p:spPr>
          <a:xfrm>
            <a:off x="292850" y="5933201"/>
            <a:ext cx="6033589" cy="33369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defTabSz="457200" rtl="0" eaLnBrk="0" fontAlgn="base" hangingPunct="0">
              <a:lnSpc>
                <a:spcPct val="92000"/>
              </a:lnSpc>
              <a:spcBef>
                <a:spcPts val="1200"/>
              </a:spcBef>
              <a:spcAft>
                <a:spcPct val="0"/>
              </a:spcAft>
              <a:defRPr sz="2100" b="1" kern="1200">
                <a:solidFill>
                  <a:schemeClr val="bg2"/>
                </a:solidFill>
                <a:latin typeface="+mj-lt"/>
                <a:ea typeface="ヒラギノ角ゴ Pro W3" charset="0"/>
                <a:cs typeface="ヒラギノ角ゴ Pro W3" charset="0"/>
              </a:defRPr>
            </a:lvl1pPr>
            <a:lvl2pPr marL="742950" indent="-285750" algn="l" defTabSz="457200" rtl="0" eaLnBrk="0" fontAlgn="base" hangingPunct="0">
              <a:lnSpc>
                <a:spcPct val="92000"/>
              </a:lnSpc>
              <a:spcBef>
                <a:spcPts val="90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+mj-lt"/>
                <a:ea typeface="ヒラギノ角ゴ Pro W3" charset="0"/>
                <a:cs typeface="ヒラギノ角ゴ Pro W3" charset="0"/>
              </a:defRPr>
            </a:lvl2pPr>
            <a:lvl3pPr marL="431800" indent="-179388" algn="l" defTabSz="457200" rtl="0" eaLnBrk="0" fontAlgn="base" hangingPunct="0">
              <a:lnSpc>
                <a:spcPct val="92000"/>
              </a:lnSpc>
              <a:spcBef>
                <a:spcPts val="9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900" kern="1200">
                <a:solidFill>
                  <a:schemeClr val="tx1"/>
                </a:solidFill>
                <a:latin typeface="+mj-lt"/>
                <a:ea typeface="ヒラギノ角ゴ Pro W3" charset="0"/>
                <a:cs typeface="ヒラギノ角ゴ Pro W3" charset="0"/>
              </a:defRPr>
            </a:lvl3pPr>
            <a:lvl4pPr marL="1079500" indent="-250825" algn="l" defTabSz="457200" rtl="0" eaLnBrk="0" fontAlgn="base" hangingPunct="0">
              <a:lnSpc>
                <a:spcPct val="92000"/>
              </a:lnSpc>
              <a:spcBef>
                <a:spcPts val="900"/>
              </a:spcBef>
              <a:spcAft>
                <a:spcPct val="0"/>
              </a:spcAft>
              <a:buFont typeface="Lucida Grande" charset="0"/>
              <a:buChar char="−"/>
              <a:defRPr sz="1900" kern="1200">
                <a:solidFill>
                  <a:schemeClr val="tx1"/>
                </a:solidFill>
                <a:latin typeface="+mj-lt"/>
                <a:ea typeface="ヒラギノ角ゴ Pro W3" charset="0"/>
                <a:cs typeface="ヒラギノ角ゴ Pro W3" charset="0"/>
              </a:defRPr>
            </a:lvl4pPr>
            <a:lvl5pPr marL="1079500" indent="-250825" algn="l" defTabSz="457200" rtl="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 kern="1200">
                <a:solidFill>
                  <a:schemeClr val="tx1"/>
                </a:solidFill>
                <a:latin typeface="+mj-lt"/>
                <a:ea typeface="ヒラギノ角ゴ Pro W3" charset="0"/>
                <a:cs typeface="ヒラギノ角ゴ Pro W3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eaLnBrk="1" hangingPunct="1">
              <a:buNone/>
            </a:pPr>
            <a:r>
              <a:rPr lang="en-GB" altLang="en-US" sz="12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https://www2.unece.org/wiki/display/TransportSustainableCTUCode/CTU+Code</a:t>
            </a:r>
          </a:p>
          <a:p>
            <a:pPr lvl="2" eaLnBrk="1" hangingPunct="1"/>
            <a:endParaRPr lang="en-GB" altLang="en-US" sz="1800" dirty="0">
              <a:ea typeface="ヒラギノ角ゴ Pro W3" pitchFamily="1" charset="-128"/>
            </a:endParaRPr>
          </a:p>
          <a:p>
            <a:pPr lvl="2" eaLnBrk="1" hangingPunct="1"/>
            <a:endParaRPr lang="en-GB" altLang="en-US" sz="1800" dirty="0">
              <a:ea typeface="ヒラギノ角ゴ Pro W3" pitchFamily="1" charset="-128"/>
            </a:endParaRPr>
          </a:p>
          <a:p>
            <a:pPr marL="252412" lvl="2" indent="0" eaLnBrk="1" hangingPunct="1">
              <a:buNone/>
            </a:pPr>
            <a:endParaRPr lang="en-GB" altLang="en-US" sz="1800" dirty="0">
              <a:ea typeface="ヒラギノ角ゴ Pro W3" pitchFamily="1" charset="-128"/>
            </a:endParaRPr>
          </a:p>
        </p:txBody>
      </p:sp>
      <p:sp>
        <p:nvSpPr>
          <p:cNvPr id="11" name="Footer Placeholder 6"/>
          <p:cNvSpPr txBox="1">
            <a:spLocks noGrp="1"/>
          </p:cNvSpPr>
          <p:nvPr/>
        </p:nvSpPr>
        <p:spPr bwMode="auto">
          <a:xfrm>
            <a:off x="1842790" y="6505385"/>
            <a:ext cx="79629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lnSpc>
                <a:spcPct val="92000"/>
              </a:lnSpc>
              <a:spcBef>
                <a:spcPts val="1200"/>
              </a:spcBef>
              <a:defRPr sz="2100" b="1">
                <a:solidFill>
                  <a:schemeClr val="bg2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lnSpc>
                <a:spcPct val="92000"/>
              </a:lnSpc>
              <a:spcBef>
                <a:spcPts val="900"/>
              </a:spcBef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lnSpc>
                <a:spcPct val="92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ct val="92000"/>
              </a:lnSpc>
              <a:spcBef>
                <a:spcPts val="900"/>
              </a:spcBef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ct val="92000"/>
              </a:lnSpc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1200" dirty="0">
                <a:solidFill>
                  <a:schemeClr val="bg1"/>
                </a:solidFill>
              </a:rPr>
              <a:t>established experti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3C206F-FA70-45A7-AF7A-FB5DC3811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6</a:t>
            </a:fld>
            <a:endParaRPr lang="en-GB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WHAT IS THE CTU CODE?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294681" y="1511300"/>
            <a:ext cx="5536880" cy="46228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rgbClr val="E32118"/>
              </a:buClr>
              <a:buNone/>
            </a:pPr>
            <a:r>
              <a:rPr lang="en-GB" altLang="en-US" b="1" dirty="0">
                <a:solidFill>
                  <a:srgbClr val="FF0000"/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Status &amp; awareness</a:t>
            </a:r>
            <a:endParaRPr lang="en-GB" altLang="en-US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Approved by IMO/ILO/UNECE </a:t>
            </a:r>
            <a:b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</a:b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(MSC.1/Circ.1497 &amp; MSC.1/Circ.1498) </a:t>
            </a:r>
          </a:p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ode 45pp; Annexes 100pp; </a:t>
            </a:r>
            <a:b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</a:b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Informative Material 175 pp</a:t>
            </a:r>
          </a:p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Due diligence (MSC.1/Circ.1531)</a:t>
            </a:r>
          </a:p>
          <a:p>
            <a:pPr marL="712788" lvl="3"/>
            <a:endParaRPr lang="en-GB" altLang="en-US" sz="2000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marL="0" lvl="2" indent="0">
              <a:spcBef>
                <a:spcPts val="1200"/>
              </a:spcBef>
              <a:buClr>
                <a:srgbClr val="E32118"/>
              </a:buClr>
              <a:buFont typeface="Arial" panose="020B0604020202020204" pitchFamily="34" charset="0"/>
              <a:buNone/>
            </a:pPr>
            <a:r>
              <a:rPr lang="en-GB" altLang="en-US" b="1" dirty="0">
                <a:solidFill>
                  <a:srgbClr val="FF0000"/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racking the Code</a:t>
            </a:r>
          </a:p>
          <a:p>
            <a:pPr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Key requirements (Do’s &amp; Don’ts) </a:t>
            </a:r>
            <a:r>
              <a:rPr lang="en-GB" altLang="en-US" sz="2000" b="1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[3]</a:t>
            </a:r>
          </a:p>
          <a:p>
            <a:pPr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hains of responsibility </a:t>
            </a:r>
            <a:r>
              <a:rPr lang="en-GB" altLang="en-US" sz="2000" b="1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[4]</a:t>
            </a:r>
          </a:p>
          <a:p>
            <a:pPr>
              <a:lnSpc>
                <a:spcPct val="100000"/>
              </a:lnSpc>
            </a:pPr>
            <a:r>
              <a:rPr lang="en-GB" altLang="en-US" sz="2000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Packing &amp; Securing </a:t>
            </a:r>
            <a:r>
              <a:rPr lang="en-GB" altLang="en-US" sz="2000" b="1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[9 / A7 / IM5&amp;6]</a:t>
            </a:r>
            <a:endParaRPr lang="en-GB" altLang="en-US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26F8A7D8-59A3-2AE1-A4D5-5A3D51D1C2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1808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DB0466A-12F7-5425-E86F-F1AFEBE983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84739">
            <a:off x="7778722" y="695251"/>
            <a:ext cx="3400693" cy="4638323"/>
          </a:xfrm>
          <a:prstGeom prst="rect">
            <a:avLst/>
          </a:prstGeom>
          <a:ln w="158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10075866" y="6494464"/>
            <a:ext cx="59213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lnSpc>
                <a:spcPct val="92000"/>
              </a:lnSpc>
              <a:spcBef>
                <a:spcPts val="1200"/>
              </a:spcBef>
              <a:defRPr sz="2100" b="1">
                <a:solidFill>
                  <a:schemeClr val="bg2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lnSpc>
                <a:spcPct val="92000"/>
              </a:lnSpc>
              <a:spcBef>
                <a:spcPts val="900"/>
              </a:spcBef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lnSpc>
                <a:spcPct val="92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ct val="92000"/>
              </a:lnSpc>
              <a:spcBef>
                <a:spcPts val="900"/>
              </a:spcBef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ct val="92000"/>
              </a:lnSpc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fld id="{52478951-C796-4E2F-BD04-50807ADD696D}" type="slidenum">
              <a:rPr lang="en-GB" altLang="en-US" sz="1200">
                <a:solidFill>
                  <a:schemeClr val="bg1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en-GB" altLang="en-US" sz="1200" dirty="0">
              <a:solidFill>
                <a:schemeClr val="bg1"/>
              </a:solidFill>
            </a:endParaRPr>
          </a:p>
        </p:txBody>
      </p:sp>
      <p:sp>
        <p:nvSpPr>
          <p:cNvPr id="11" name="Footer Placeholder 6"/>
          <p:cNvSpPr txBox="1">
            <a:spLocks noGrp="1"/>
          </p:cNvSpPr>
          <p:nvPr/>
        </p:nvSpPr>
        <p:spPr bwMode="auto">
          <a:xfrm>
            <a:off x="1842790" y="6505385"/>
            <a:ext cx="79629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lnSpc>
                <a:spcPct val="92000"/>
              </a:lnSpc>
              <a:spcBef>
                <a:spcPts val="1200"/>
              </a:spcBef>
              <a:defRPr sz="2100" b="1">
                <a:solidFill>
                  <a:schemeClr val="bg2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lnSpc>
                <a:spcPct val="92000"/>
              </a:lnSpc>
              <a:spcBef>
                <a:spcPts val="900"/>
              </a:spcBef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lnSpc>
                <a:spcPct val="92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lnSpc>
                <a:spcPct val="92000"/>
              </a:lnSpc>
              <a:spcBef>
                <a:spcPts val="900"/>
              </a:spcBef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lnSpc>
                <a:spcPct val="92000"/>
              </a:lnSpc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lnSpc>
                <a:spcPct val="92000"/>
              </a:lnSpc>
              <a:spcBef>
                <a:spcPct val="0"/>
              </a:spcBef>
              <a:spcAft>
                <a:spcPct val="0"/>
              </a:spcAft>
              <a:buFont typeface="Lucida Grande" charset="0"/>
              <a:buChar char="−"/>
              <a:defRPr sz="19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altLang="en-US" sz="1200" dirty="0">
                <a:solidFill>
                  <a:schemeClr val="bg1"/>
                </a:solidFill>
              </a:rPr>
              <a:t>established experti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3C206F-FA70-45A7-AF7A-FB5DC3811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7</a:t>
            </a:fld>
            <a:endParaRPr lang="en-GB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UNDERSTANDING THE CTU CODE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294681" y="1511300"/>
            <a:ext cx="5462956" cy="46228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To help all stakeholders better understand the CTU Guide, the Cargo Integrity Group compiled the following:</a:t>
            </a:r>
          </a:p>
          <a:p>
            <a:pPr marL="715963" lvl="3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TU Quick Guide</a:t>
            </a:r>
          </a:p>
          <a:p>
            <a:pPr marL="715963" lvl="3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ontainer packing checklist</a:t>
            </a:r>
          </a:p>
          <a:p>
            <a:pPr marL="715963" lvl="3">
              <a:lnSpc>
                <a:spcPct val="100000"/>
              </a:lnSpc>
            </a:pPr>
            <a:endParaRPr lang="en-GB" altLang="en-US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These resources are aimed at developing understanding for actors across the industry, and to support sound-decision making</a:t>
            </a:r>
          </a:p>
          <a:p>
            <a:pPr marL="258763" lvl="2">
              <a:lnSpc>
                <a:spcPct val="100000"/>
              </a:lnSpc>
            </a:pPr>
            <a:endParaRPr lang="en-GB" altLang="en-US" dirty="0"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marL="258763" lvl="2">
              <a:lnSpc>
                <a:spcPct val="100000"/>
              </a:lnSpc>
            </a:pPr>
            <a:r>
              <a:rPr lang="en-GB" altLang="en-US" dirty="0"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Work currently underway on a possible CTU Code mobile app to facilitate access to the CTU Code contents on a day-to-day basis</a:t>
            </a:r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26F8A7D8-59A3-2AE1-A4D5-5A3D51D1C27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AD77412-C9CC-8B75-90E2-83F0B2C360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28835">
            <a:off x="6671560" y="959584"/>
            <a:ext cx="3235202" cy="45620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1230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80" y="1371600"/>
            <a:ext cx="6982209" cy="5239603"/>
          </a:xfrm>
        </p:spPr>
        <p:txBody>
          <a:bodyPr>
            <a:norm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reating a ‘route map’ to aid understanding &amp; implementation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Depicting complex relationships typical to global CTU supply chain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implified process guidance, including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Planning and preparation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General safety (e.g. enclosed space entry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Checking the CTU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Dealing with Dangerous Good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Effective packag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Principles &amp; practice of pack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Secur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Completion check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Receipt &amp; unpack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5600" y="365126"/>
            <a:ext cx="3807650" cy="53692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A29F4-3D16-4218-8537-5D16FD952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8</a:t>
            </a:fld>
            <a:endParaRPr lang="en-GB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INTRODUCING ‘CTU CODE – A QUICK GUIDE’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3"/>
          <p:cNvSpPr txBox="1">
            <a:spLocks/>
          </p:cNvSpPr>
          <p:nvPr/>
        </p:nvSpPr>
        <p:spPr>
          <a:xfrm>
            <a:off x="294680" y="63116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GB" sz="1400" dirty="0"/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70CB3761-95A9-777C-E31B-99FACAFA54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679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80" y="1364708"/>
            <a:ext cx="6675963" cy="4992135"/>
          </a:xfrm>
        </p:spPr>
        <p:txBody>
          <a:bodyPr>
            <a:normAutofit/>
          </a:bodyPr>
          <a:lstStyle/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pecific for intermodal freight containers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lear process checklist for safe packing &amp; avoidance of pest contamination based on CTU Code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equences main check-points from container packer’s perspective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‘Yes/No’ answer format. Successful completion allows dispatch of container.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References to relevant CTU Code source material for supervisors to consider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pyrighted material but free to use in unmodified form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6E8644-6129-42D1-830B-CA9A8A65F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114372-682A-4542-90D2-3042A63232FE}" type="slidenum">
              <a:rPr lang="en-GB" smtClean="0"/>
              <a:t>9</a:t>
            </a:fld>
            <a:endParaRPr lang="en-GB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94680" y="365126"/>
            <a:ext cx="11059120" cy="819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ONTAINER PACKING CHECKLIST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26C60006-C4A0-B237-B850-A95104D5B4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9371" y="5881355"/>
            <a:ext cx="1367985" cy="8605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BA4DCBD-F02D-760C-2BB0-594FF9AA2A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052" t="17977" r="43720" b="11641"/>
          <a:stretch/>
        </p:blipFill>
        <p:spPr>
          <a:xfrm>
            <a:off x="7666514" y="61343"/>
            <a:ext cx="4230806" cy="579959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  <p:extLst>
      <p:ext uri="{BB962C8B-B14F-4D97-AF65-F5344CB8AC3E}">
        <p14:creationId xmlns:p14="http://schemas.microsoft.com/office/powerpoint/2010/main" val="2817041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28</Words>
  <Application>Microsoft Office PowerPoint</Application>
  <PresentationFormat>Grand écran</PresentationFormat>
  <Paragraphs>169</Paragraphs>
  <Slides>15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Lucida Grande</vt:lpstr>
      <vt:lpstr>Wingdings</vt:lpstr>
      <vt:lpstr>Office Theme</vt:lpstr>
      <vt:lpstr>think-cell Slide</vt:lpstr>
      <vt:lpstr>Présentation PowerPoint</vt:lpstr>
      <vt:lpstr>HISTORY OF CARGO INTEGRITY INITIATIVE</vt:lpstr>
      <vt:lpstr>RATIONALE FOR CARGO INTEGRITY INITIATIVE</vt:lpstr>
      <vt:lpstr>CARGO INTEGRITY GROUP TODAY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WHAT MORE NEEDS TO BE DONE?</vt:lpstr>
      <vt:lpstr>Présentation PowerPoint</vt:lpstr>
      <vt:lpstr>Présentation PowerPoint</vt:lpstr>
    </vt:vector>
  </TitlesOfParts>
  <Company>Thomas Mill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regrine Storrs-Fox</dc:creator>
  <cp:lastModifiedBy>Stéphane Graber</cp:lastModifiedBy>
  <cp:revision>57</cp:revision>
  <cp:lastPrinted>2020-08-26T13:53:11Z</cp:lastPrinted>
  <dcterms:created xsi:type="dcterms:W3CDTF">2020-08-20T10:26:10Z</dcterms:created>
  <dcterms:modified xsi:type="dcterms:W3CDTF">2022-09-20T23:28:35Z</dcterms:modified>
</cp:coreProperties>
</file>